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81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632" autoAdjust="0"/>
    <p:restoredTop sz="94660"/>
  </p:normalViewPr>
  <p:slideViewPr>
    <p:cSldViewPr snapToGrid="0">
      <p:cViewPr varScale="1">
        <p:scale>
          <a:sx n="85" d="100"/>
          <a:sy n="85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12" Type="http://schemas.openxmlformats.org/officeDocument/2006/relationships/image" Target="../media/image13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11" Type="http://schemas.openxmlformats.org/officeDocument/2006/relationships/image" Target="../media/image12.wmf"/><Relationship Id="rId5" Type="http://schemas.openxmlformats.org/officeDocument/2006/relationships/image" Target="../media/image6.wmf"/><Relationship Id="rId10" Type="http://schemas.openxmlformats.org/officeDocument/2006/relationships/image" Target="../media/image11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3.wmf"/><Relationship Id="rId26" Type="http://schemas.openxmlformats.org/officeDocument/2006/relationships/image" Target="../media/image7.wmf"/><Relationship Id="rId3" Type="http://schemas.openxmlformats.org/officeDocument/2006/relationships/image" Target="../media/image14.png"/><Relationship Id="rId21" Type="http://schemas.openxmlformats.org/officeDocument/2006/relationships/oleObject" Target="../embeddings/oleObject4.bin"/><Relationship Id="rId34" Type="http://schemas.openxmlformats.org/officeDocument/2006/relationships/image" Target="../media/image11.wmf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oleObject" Target="../embeddings/oleObject2.bin"/><Relationship Id="rId25" Type="http://schemas.openxmlformats.org/officeDocument/2006/relationships/oleObject" Target="../embeddings/oleObject6.bin"/><Relationship Id="rId33" Type="http://schemas.openxmlformats.org/officeDocument/2006/relationships/oleObject" Target="../embeddings/oleObject10.bin"/><Relationship Id="rId38" Type="http://schemas.openxmlformats.org/officeDocument/2006/relationships/image" Target="../media/image13.wmf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.wmf"/><Relationship Id="rId20" Type="http://schemas.openxmlformats.org/officeDocument/2006/relationships/image" Target="../media/image4.wmf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6.wmf"/><Relationship Id="rId32" Type="http://schemas.openxmlformats.org/officeDocument/2006/relationships/image" Target="../media/image10.wmf"/><Relationship Id="rId37" Type="http://schemas.openxmlformats.org/officeDocument/2006/relationships/oleObject" Target="../embeddings/oleObject12.bin"/><Relationship Id="rId5" Type="http://schemas.openxmlformats.org/officeDocument/2006/relationships/image" Target="../media/image16.png"/><Relationship Id="rId15" Type="http://schemas.openxmlformats.org/officeDocument/2006/relationships/oleObject" Target="../embeddings/oleObject1.bin"/><Relationship Id="rId23" Type="http://schemas.openxmlformats.org/officeDocument/2006/relationships/oleObject" Target="../embeddings/oleObject5.bin"/><Relationship Id="rId28" Type="http://schemas.openxmlformats.org/officeDocument/2006/relationships/image" Target="../media/image8.wmf"/><Relationship Id="rId36" Type="http://schemas.openxmlformats.org/officeDocument/2006/relationships/image" Target="../media/image12.wmf"/><Relationship Id="rId10" Type="http://schemas.openxmlformats.org/officeDocument/2006/relationships/image" Target="../media/image21.png"/><Relationship Id="rId19" Type="http://schemas.openxmlformats.org/officeDocument/2006/relationships/oleObject" Target="../embeddings/oleObject3.bin"/><Relationship Id="rId31" Type="http://schemas.openxmlformats.org/officeDocument/2006/relationships/oleObject" Target="../embeddings/oleObject9.bin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5.wmf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9.wmf"/><Relationship Id="rId35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75841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６．</a:t>
            </a:r>
            <a:r>
              <a:rPr lang="en-US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黒） 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小、カード用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graphicFrame>
        <p:nvGraphicFramePr>
          <p:cNvPr id="22" name="表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9232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5" name="グループ化 24"/>
          <p:cNvGrpSpPr/>
          <p:nvPr/>
        </p:nvGrpSpPr>
        <p:grpSpPr>
          <a:xfrm>
            <a:off x="3967620" y="1961947"/>
            <a:ext cx="1440183" cy="4095106"/>
            <a:chOff x="3967620" y="1961947"/>
            <a:chExt cx="1440183" cy="4095106"/>
          </a:xfrm>
        </p:grpSpPr>
        <p:pic>
          <p:nvPicPr>
            <p:cNvPr id="26" name="図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39" y="1961947"/>
              <a:ext cx="1437144" cy="720852"/>
            </a:xfrm>
            <a:prstGeom prst="rect">
              <a:avLst/>
            </a:prstGeom>
          </p:spPr>
        </p:pic>
        <p:pic>
          <p:nvPicPr>
            <p:cNvPr id="27" name="図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6"/>
            </a:xfrm>
            <a:prstGeom prst="rect">
              <a:avLst/>
            </a:prstGeom>
          </p:spPr>
        </p:pic>
        <p:pic>
          <p:nvPicPr>
            <p:cNvPr id="28" name="図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29" name="図 2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6"/>
            </a:xfrm>
            <a:prstGeom prst="rect">
              <a:avLst/>
            </a:prstGeom>
          </p:spPr>
        </p:pic>
      </p:grpSp>
      <p:grpSp>
        <p:nvGrpSpPr>
          <p:cNvPr id="30" name="グループ化 29"/>
          <p:cNvGrpSpPr/>
          <p:nvPr/>
        </p:nvGrpSpPr>
        <p:grpSpPr>
          <a:xfrm>
            <a:off x="6393294" y="1962328"/>
            <a:ext cx="1440182" cy="4094343"/>
            <a:chOff x="3967620" y="1962328"/>
            <a:chExt cx="1440182" cy="4094343"/>
          </a:xfrm>
        </p:grpSpPr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2328"/>
              <a:ext cx="1437142" cy="720090"/>
            </a:xfrm>
            <a:prstGeom prst="rect">
              <a:avLst/>
            </a:prstGeom>
          </p:spPr>
        </p:pic>
        <p:pic>
          <p:nvPicPr>
            <p:cNvPr id="32" name="図 3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3086063"/>
              <a:ext cx="1440182" cy="721613"/>
            </a:xfrm>
            <a:prstGeom prst="rect">
              <a:avLst/>
            </a:prstGeom>
          </p:spPr>
        </p:pic>
        <p:pic>
          <p:nvPicPr>
            <p:cNvPr id="33" name="図 3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1322"/>
              <a:ext cx="1440182" cy="720091"/>
            </a:xfrm>
            <a:prstGeom prst="rect">
              <a:avLst/>
            </a:prstGeom>
          </p:spPr>
        </p:pic>
        <p:pic>
          <p:nvPicPr>
            <p:cNvPr id="34" name="図 3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5335058"/>
              <a:ext cx="1440182" cy="721613"/>
            </a:xfrm>
            <a:prstGeom prst="rect">
              <a:avLst/>
            </a:prstGeom>
          </p:spPr>
        </p:pic>
      </p:grpSp>
      <p:grpSp>
        <p:nvGrpSpPr>
          <p:cNvPr id="35" name="グループ化 34"/>
          <p:cNvGrpSpPr/>
          <p:nvPr/>
        </p:nvGrpSpPr>
        <p:grpSpPr>
          <a:xfrm>
            <a:off x="1716431" y="1961947"/>
            <a:ext cx="1440183" cy="4095105"/>
            <a:chOff x="3967620" y="1961947"/>
            <a:chExt cx="1440183" cy="4095105"/>
          </a:xfrm>
        </p:grpSpPr>
        <p:pic>
          <p:nvPicPr>
            <p:cNvPr id="36" name="図 3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1947"/>
              <a:ext cx="1437142" cy="720852"/>
            </a:xfrm>
            <a:prstGeom prst="rect">
              <a:avLst/>
            </a:prstGeom>
          </p:spPr>
        </p:pic>
        <p:pic>
          <p:nvPicPr>
            <p:cNvPr id="37" name="図 36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5"/>
            </a:xfrm>
            <a:prstGeom prst="rect">
              <a:avLst/>
            </a:prstGeom>
          </p:spPr>
        </p:pic>
        <p:pic>
          <p:nvPicPr>
            <p:cNvPr id="38" name="図 37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39" name="図 3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5"/>
            </a:xfrm>
            <a:prstGeom prst="rect">
              <a:avLst/>
            </a:prstGeom>
          </p:spPr>
        </p:pic>
      </p:grpSp>
      <p:graphicFrame>
        <p:nvGraphicFramePr>
          <p:cNvPr id="2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5072100"/>
              </p:ext>
            </p:extLst>
          </p:nvPr>
        </p:nvGraphicFramePr>
        <p:xfrm>
          <a:off x="2307822" y="5939712"/>
          <a:ext cx="16002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パッケージャー シェル オブジェクト" showAsIcon="1" r:id="rId15" imgW="1600200" imgH="364680" progId="Package">
                  <p:embed/>
                </p:oleObj>
              </mc:Choice>
              <mc:Fallback>
                <p:oleObj name="パッケージャー シェル オブジェクト" showAsIcon="1" r:id="rId15" imgW="16002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307822" y="5939712"/>
                        <a:ext cx="16002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0635023"/>
              </p:ext>
            </p:extLst>
          </p:nvPr>
        </p:nvGraphicFramePr>
        <p:xfrm>
          <a:off x="2307822" y="2583468"/>
          <a:ext cx="16002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1" name="パッケージャー シェル オブジェクト" showAsIcon="1" r:id="rId17" imgW="1600200" imgH="364680" progId="Package">
                  <p:embed/>
                </p:oleObj>
              </mc:Choice>
              <mc:Fallback>
                <p:oleObj name="パッケージャー シェル オブジェクト" showAsIcon="1" r:id="rId17" imgW="16002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307822" y="2583468"/>
                        <a:ext cx="16002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2720137"/>
              </p:ext>
            </p:extLst>
          </p:nvPr>
        </p:nvGraphicFramePr>
        <p:xfrm>
          <a:off x="2257816" y="3702216"/>
          <a:ext cx="17002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パッケージャー シェル オブジェクト" showAsIcon="1" r:id="rId19" imgW="1701000" imgH="364680" progId="Package">
                  <p:embed/>
                </p:oleObj>
              </mc:Choice>
              <mc:Fallback>
                <p:oleObj name="パッケージャー シェル オブジェクト" showAsIcon="1" r:id="rId19" imgW="17010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257816" y="3702216"/>
                        <a:ext cx="17002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75416"/>
              </p:ext>
            </p:extLst>
          </p:nvPr>
        </p:nvGraphicFramePr>
        <p:xfrm>
          <a:off x="2257816" y="4820964"/>
          <a:ext cx="17002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パッケージャー シェル オブジェクト" showAsIcon="1" r:id="rId21" imgW="1701000" imgH="364680" progId="Package">
                  <p:embed/>
                </p:oleObj>
              </mc:Choice>
              <mc:Fallback>
                <p:oleObj name="パッケージャー シェル オブジェクト" showAsIcon="1" r:id="rId21" imgW="17010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257816" y="4820964"/>
                        <a:ext cx="17002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3897"/>
              </p:ext>
            </p:extLst>
          </p:nvPr>
        </p:nvGraphicFramePr>
        <p:xfrm>
          <a:off x="4610258" y="2583468"/>
          <a:ext cx="16335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パッケージャー シェル オブジェクト" showAsIcon="1" r:id="rId23" imgW="1633680" imgH="364680" progId="Package">
                  <p:embed/>
                </p:oleObj>
              </mc:Choice>
              <mc:Fallback>
                <p:oleObj name="パッケージャー シェル オブジェクト" showAsIcon="1" r:id="rId23" imgW="1633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4610258" y="2583468"/>
                        <a:ext cx="16335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0935157"/>
              </p:ext>
            </p:extLst>
          </p:nvPr>
        </p:nvGraphicFramePr>
        <p:xfrm>
          <a:off x="4559458" y="3702216"/>
          <a:ext cx="17351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パッケージャー シェル オブジェクト" showAsIcon="1" r:id="rId25" imgW="1734840" imgH="364680" progId="Package">
                  <p:embed/>
                </p:oleObj>
              </mc:Choice>
              <mc:Fallback>
                <p:oleObj name="パッケージャー シェル オブジェクト" showAsIcon="1" r:id="rId25" imgW="1734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4559458" y="3702216"/>
                        <a:ext cx="17351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2204677"/>
              </p:ext>
            </p:extLst>
          </p:nvPr>
        </p:nvGraphicFramePr>
        <p:xfrm>
          <a:off x="4559458" y="4820964"/>
          <a:ext cx="17351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パッケージャー シェル オブジェクト" showAsIcon="1" r:id="rId27" imgW="1734840" imgH="364680" progId="Package">
                  <p:embed/>
                </p:oleObj>
              </mc:Choice>
              <mc:Fallback>
                <p:oleObj name="パッケージャー シェル オブジェクト" showAsIcon="1" r:id="rId27" imgW="1734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559458" y="4820964"/>
                        <a:ext cx="17351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2094155"/>
              </p:ext>
            </p:extLst>
          </p:nvPr>
        </p:nvGraphicFramePr>
        <p:xfrm>
          <a:off x="4610258" y="5939712"/>
          <a:ext cx="16335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7" name="パッケージャー シェル オブジェクト" showAsIcon="1" r:id="rId29" imgW="1633680" imgH="364680" progId="Package">
                  <p:embed/>
                </p:oleObj>
              </mc:Choice>
              <mc:Fallback>
                <p:oleObj name="パッケージャー シェル オブジェクト" showAsIcon="1" r:id="rId29" imgW="1633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4610258" y="5939712"/>
                        <a:ext cx="16335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4041124"/>
              </p:ext>
            </p:extLst>
          </p:nvPr>
        </p:nvGraphicFramePr>
        <p:xfrm>
          <a:off x="6882467" y="2583468"/>
          <a:ext cx="169386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" name="パッケージャー シェル オブジェクト" showAsIcon="1" r:id="rId31" imgW="1694160" imgH="364680" progId="Package">
                  <p:embed/>
                </p:oleObj>
              </mc:Choice>
              <mc:Fallback>
                <p:oleObj name="パッケージャー シェル オブジェクト" showAsIcon="1" r:id="rId31" imgW="1694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882467" y="2583468"/>
                        <a:ext cx="169386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34213578"/>
              </p:ext>
            </p:extLst>
          </p:nvPr>
        </p:nvGraphicFramePr>
        <p:xfrm>
          <a:off x="6831667" y="3702216"/>
          <a:ext cx="179546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9" name="パッケージャー シェル オブジェクト" showAsIcon="1" r:id="rId33" imgW="1795320" imgH="364680" progId="Package">
                  <p:embed/>
                </p:oleObj>
              </mc:Choice>
              <mc:Fallback>
                <p:oleObj name="パッケージャー シェル オブジェクト" showAsIcon="1" r:id="rId33" imgW="17953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6831667" y="3702216"/>
                        <a:ext cx="179546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オブジェクト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6335688"/>
              </p:ext>
            </p:extLst>
          </p:nvPr>
        </p:nvGraphicFramePr>
        <p:xfrm>
          <a:off x="6831667" y="4820964"/>
          <a:ext cx="179546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パッケージャー シェル オブジェクト" showAsIcon="1" r:id="rId35" imgW="1795320" imgH="364680" progId="Package">
                  <p:embed/>
                </p:oleObj>
              </mc:Choice>
              <mc:Fallback>
                <p:oleObj name="パッケージャー シェル オブジェクト" showAsIcon="1" r:id="rId35" imgW="17953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6831667" y="4820964"/>
                        <a:ext cx="179546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オブジェクト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1800634"/>
              </p:ext>
            </p:extLst>
          </p:nvPr>
        </p:nvGraphicFramePr>
        <p:xfrm>
          <a:off x="6882467" y="5939712"/>
          <a:ext cx="169386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パッケージャー シェル オブジェクト" showAsIcon="1" r:id="rId37" imgW="1694160" imgH="364680" progId="Package">
                  <p:embed/>
                </p:oleObj>
              </mc:Choice>
              <mc:Fallback>
                <p:oleObj name="パッケージャー シェル オブジェクト" showAsIcon="1" r:id="rId37" imgW="1694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6882467" y="5939712"/>
                        <a:ext cx="169386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399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7</TotalTime>
  <Words>67</Words>
  <Application>Microsoft Office PowerPoint</Application>
  <PresentationFormat>画面に合わせる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Kumagai,Haruka 熊谷遥(営業業務部ＳＣＭ－Ｇ)</cp:lastModifiedBy>
  <cp:revision>125</cp:revision>
  <cp:lastPrinted>2017-06-29T12:14:47Z</cp:lastPrinted>
  <dcterms:created xsi:type="dcterms:W3CDTF">2017-06-13T01:38:36Z</dcterms:created>
  <dcterms:modified xsi:type="dcterms:W3CDTF">2017-07-03T04:29:42Z</dcterms:modified>
</cp:coreProperties>
</file>